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B0000"/>
    <a:srgbClr val="8D8D8D"/>
    <a:srgbClr val="C60018"/>
    <a:srgbClr val="A20013"/>
    <a:srgbClr val="BDBDBD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Weigel Stefan (PAR-EPS)" userId="fd3b2067-2981-4ad8-bf3a-d2e1004e4fa8" providerId="ADAL" clId="{723A5614-5335-4792-BC99-5E908A7EB9D5}"/>
    <pc:docChg chg="modSld">
      <pc:chgData name="Weigel Stefan (PAR-EPS)" userId="fd3b2067-2981-4ad8-bf3a-d2e1004e4fa8" providerId="ADAL" clId="{723A5614-5335-4792-BC99-5E908A7EB9D5}" dt="2023-11-21T15:04:35.060" v="56" actId="20577"/>
      <pc:docMkLst>
        <pc:docMk/>
      </pc:docMkLst>
      <pc:sldChg chg="modSp mod">
        <pc:chgData name="Weigel Stefan (PAR-EPS)" userId="fd3b2067-2981-4ad8-bf3a-d2e1004e4fa8" providerId="ADAL" clId="{723A5614-5335-4792-BC99-5E908A7EB9D5}" dt="2023-11-21T15:04:35.060" v="56" actId="20577"/>
        <pc:sldMkLst>
          <pc:docMk/>
          <pc:sldMk cId="2641487227" sldId="272"/>
        </pc:sldMkLst>
        <pc:spChg chg="mod">
          <ac:chgData name="Weigel Stefan (PAR-EPS)" userId="fd3b2067-2981-4ad8-bf3a-d2e1004e4fa8" providerId="ADAL" clId="{723A5614-5335-4792-BC99-5E908A7EB9D5}" dt="2023-11-21T15:04:35.060" v="56" actId="20577"/>
          <ac:spMkLst>
            <pc:docMk/>
            <pc:sldMk cId="2641487227" sldId="272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723A5614-5335-4792-BC99-5E908A7EB9D5}" dt="2023-11-21T08:32:04.630" v="32" actId="6549"/>
          <ac:spMkLst>
            <pc:docMk/>
            <pc:sldMk cId="2641487227" sldId="272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0CA6449E-F874-4A38-BDCD-3C90E14C6814}"/>
    <pc:docChg chg="modSld">
      <pc:chgData name="Meyer Raphael (PAR-ES)" userId="79615dfe-ed48-4e74-a40f-4f7b034c1c27" providerId="ADAL" clId="{0CA6449E-F874-4A38-BDCD-3C90E14C6814}" dt="2021-11-08T12:07:42.855" v="2" actId="1076"/>
      <pc:docMkLst>
        <pc:docMk/>
      </pc:docMkLst>
      <pc:sldChg chg="addSp modSp mod">
        <pc:chgData name="Meyer Raphael (PAR-ES)" userId="79615dfe-ed48-4e74-a40f-4f7b034c1c27" providerId="ADAL" clId="{0CA6449E-F874-4A38-BDCD-3C90E14C6814}" dt="2021-11-08T12:07:42.855" v="2" actId="1076"/>
        <pc:sldMkLst>
          <pc:docMk/>
          <pc:sldMk cId="3677740869" sldId="271"/>
        </pc:sldMkLst>
        <pc:spChg chg="add mod">
          <ac:chgData name="Meyer Raphael (PAR-ES)" userId="79615dfe-ed48-4e74-a40f-4f7b034c1c27" providerId="ADAL" clId="{0CA6449E-F874-4A38-BDCD-3C90E14C6814}" dt="2021-11-08T12:07:42.855" v="2" actId="1076"/>
          <ac:spMkLst>
            <pc:docMk/>
            <pc:sldMk cId="3677740869" sldId="271"/>
            <ac:spMk id="8" creationId="{372D1D2E-5445-489E-A3F2-D49DFC8BE2C6}"/>
          </ac:spMkLst>
        </pc:sp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Weigel Stefan (PAR-ES)" userId="fd3b2067-2981-4ad8-bf3a-d2e1004e4fa8" providerId="ADAL" clId="{2008A9E6-DF13-49EA-A747-1732077D2565}"/>
    <pc:docChg chg="modSld">
      <pc:chgData name="Weigel Stefan (PAR-ES)" userId="fd3b2067-2981-4ad8-bf3a-d2e1004e4fa8" providerId="ADAL" clId="{2008A9E6-DF13-49EA-A747-1732077D2565}" dt="2023-01-31T17:54:13.734" v="23" actId="790"/>
      <pc:docMkLst>
        <pc:docMk/>
      </pc:docMkLst>
      <pc:sldChg chg="modSp mod">
        <pc:chgData name="Weigel Stefan (PAR-ES)" userId="fd3b2067-2981-4ad8-bf3a-d2e1004e4fa8" providerId="ADAL" clId="{2008A9E6-DF13-49EA-A747-1732077D2565}" dt="2023-01-31T17:54:13.734" v="23" actId="790"/>
        <pc:sldMkLst>
          <pc:docMk/>
          <pc:sldMk cId="2641487227" sldId="272"/>
        </pc:sldMkLst>
        <pc:spChg chg="mod">
          <ac:chgData name="Weigel Stefan (PAR-ES)" userId="fd3b2067-2981-4ad8-bf3a-d2e1004e4fa8" providerId="ADAL" clId="{2008A9E6-DF13-49EA-A747-1732077D2565}" dt="2023-01-31T17:54:02.542" v="22" actId="790"/>
          <ac:spMkLst>
            <pc:docMk/>
            <pc:sldMk cId="2641487227" sldId="27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2008A9E6-DF13-49EA-A747-1732077D2565}" dt="2023-01-31T17:54:13.734" v="23" actId="790"/>
          <ac:spMkLst>
            <pc:docMk/>
            <pc:sldMk cId="2641487227" sldId="272"/>
            <ac:spMk id="6" creationId="{0148E78D-7FBB-46BC-A7E3-0EFE6D9E4679}"/>
          </ac:spMkLst>
        </pc:spChg>
        <pc:graphicFrameChg chg="mod">
          <ac:chgData name="Weigel Stefan (PAR-ES)" userId="fd3b2067-2981-4ad8-bf3a-d2e1004e4fa8" providerId="ADAL" clId="{2008A9E6-DF13-49EA-A747-1732077D2565}" dt="2023-01-31T17:53:48.187" v="21"/>
          <ac:graphicFrameMkLst>
            <pc:docMk/>
            <pc:sldMk cId="2641487227" sldId="27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5F9EBD5C-9CAE-4094-99C9-84D7DE81A901}"/>
    <pc:docChg chg="modSld">
      <pc:chgData name="Weigel Stefan (PAR-EPS)" userId="fd3b2067-2981-4ad8-bf3a-d2e1004e4fa8" providerId="ADAL" clId="{5F9EBD5C-9CAE-4094-99C9-84D7DE81A901}" dt="2024-04-25T07:19:20.277" v="22" actId="692"/>
      <pc:docMkLst>
        <pc:docMk/>
      </pc:docMkLst>
      <pc:sldChg chg="modSp mod">
        <pc:chgData name="Weigel Stefan (PAR-EPS)" userId="fd3b2067-2981-4ad8-bf3a-d2e1004e4fa8" providerId="ADAL" clId="{5F9EBD5C-9CAE-4094-99C9-84D7DE81A901}" dt="2024-04-25T07:19:20.277" v="22" actId="692"/>
        <pc:sldMkLst>
          <pc:docMk/>
          <pc:sldMk cId="2641487227" sldId="272"/>
        </pc:sldMkLst>
        <pc:spChg chg="mod">
          <ac:chgData name="Weigel Stefan (PAR-EPS)" userId="fd3b2067-2981-4ad8-bf3a-d2e1004e4fa8" providerId="ADAL" clId="{5F9EBD5C-9CAE-4094-99C9-84D7DE81A901}" dt="2024-04-25T07:18:49.408" v="16" actId="207"/>
          <ac:spMkLst>
            <pc:docMk/>
            <pc:sldMk cId="2641487227" sldId="272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5F9EBD5C-9CAE-4094-99C9-84D7DE81A901}" dt="2024-04-25T07:19:09.341" v="21" actId="207"/>
          <ac:spMkLst>
            <pc:docMk/>
            <pc:sldMk cId="2641487227" sldId="272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5F9EBD5C-9CAE-4094-99C9-84D7DE81A901}" dt="2024-04-25T07:19:20.277" v="22" actId="692"/>
          <ac:graphicFrameMkLst>
            <pc:docMk/>
            <pc:sldMk cId="2641487227" sldId="27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A5ACB6B2-45DB-45AC-8236-130D5C0A9AA7}"/>
    <pc:docChg chg="modSld">
      <pc:chgData name="Weigel Stefan (PAR-EPS)" userId="fd3b2067-2981-4ad8-bf3a-d2e1004e4fa8" providerId="ADAL" clId="{A5ACB6B2-45DB-45AC-8236-130D5C0A9AA7}" dt="2024-11-01T10:37:12.601" v="16" actId="27918"/>
      <pc:docMkLst>
        <pc:docMk/>
      </pc:docMkLst>
      <pc:sldChg chg="modSp mod">
        <pc:chgData name="Weigel Stefan (PAR-EPS)" userId="fd3b2067-2981-4ad8-bf3a-d2e1004e4fa8" providerId="ADAL" clId="{A5ACB6B2-45DB-45AC-8236-130D5C0A9AA7}" dt="2024-11-01T10:37:12.601" v="16" actId="27918"/>
        <pc:sldMkLst>
          <pc:docMk/>
          <pc:sldMk cId="2641487227" sldId="272"/>
        </pc:sldMkLst>
        <pc:spChg chg="mod">
          <ac:chgData name="Weigel Stefan (PAR-EPS)" userId="fd3b2067-2981-4ad8-bf3a-d2e1004e4fa8" providerId="ADAL" clId="{A5ACB6B2-45DB-45AC-8236-130D5C0A9AA7}" dt="2024-11-01T10:36:18.970" v="7" actId="20577"/>
          <ac:spMkLst>
            <pc:docMk/>
            <pc:sldMk cId="2641487227" sldId="272"/>
            <ac:spMk id="6" creationId="{0148E78D-7FBB-46BC-A7E3-0EFE6D9E4679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Weigel Stefan (PAR-EPS)" userId="fd3b2067-2981-4ad8-bf3a-d2e1004e4fa8" providerId="ADAL" clId="{4962AA9E-E6CF-458C-8DE1-58782E008A2A}"/>
    <pc:docChg chg="modSld">
      <pc:chgData name="Weigel Stefan (PAR-EPS)" userId="fd3b2067-2981-4ad8-bf3a-d2e1004e4fa8" providerId="ADAL" clId="{4962AA9E-E6CF-458C-8DE1-58782E008A2A}" dt="2024-02-02T08:58:57.755" v="5" actId="27918"/>
      <pc:docMkLst>
        <pc:docMk/>
      </pc:docMkLst>
      <pc:sldChg chg="mod">
        <pc:chgData name="Weigel Stefan (PAR-EPS)" userId="fd3b2067-2981-4ad8-bf3a-d2e1004e4fa8" providerId="ADAL" clId="{4962AA9E-E6CF-458C-8DE1-58782E008A2A}" dt="2024-02-02T08:58:57.755" v="5" actId="27918"/>
        <pc:sldMkLst>
          <pc:docMk/>
          <pc:sldMk cId="2641487227" sldId="272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21E3D908-F10F-4DDF-A48F-B72128982F51}"/>
    <pc:docChg chg="undo custSel addSld delSld modSld">
      <pc:chgData name="Meyer Raphael (PAR-ES)" userId="79615dfe-ed48-4e74-a40f-4f7b034c1c27" providerId="ADAL" clId="{21E3D908-F10F-4DDF-A48F-B72128982F51}" dt="2022-03-10T10:28:35.419" v="44" actId="47"/>
      <pc:docMkLst>
        <pc:docMk/>
      </pc:docMkLst>
      <pc:sldChg chg="delSp add del mod">
        <pc:chgData name="Meyer Raphael (PAR-ES)" userId="79615dfe-ed48-4e74-a40f-4f7b034c1c27" providerId="ADAL" clId="{21E3D908-F10F-4DDF-A48F-B72128982F51}" dt="2022-03-10T10:28:35.419" v="44" actId="47"/>
        <pc:sldMkLst>
          <pc:docMk/>
          <pc:sldMk cId="3677740869" sldId="271"/>
        </pc:sldMkLst>
        <pc:spChg chg="del">
          <ac:chgData name="Meyer Raphael (PAR-ES)" userId="79615dfe-ed48-4e74-a40f-4f7b034c1c27" providerId="ADAL" clId="{21E3D908-F10F-4DDF-A48F-B72128982F51}" dt="2022-03-10T10:24:13.329" v="19" actId="478"/>
          <ac:spMkLst>
            <pc:docMk/>
            <pc:sldMk cId="3677740869" sldId="271"/>
            <ac:spMk id="8" creationId="{372D1D2E-5445-489E-A3F2-D49DFC8BE2C6}"/>
          </ac:spMkLst>
        </pc:spChg>
      </pc:sldChg>
      <pc:sldChg chg="modSp mod">
        <pc:chgData name="Meyer Raphael (PAR-ES)" userId="79615dfe-ed48-4e74-a40f-4f7b034c1c27" providerId="ADAL" clId="{21E3D908-F10F-4DDF-A48F-B72128982F51}" dt="2022-03-10T10:28:29.867" v="43"/>
        <pc:sldMkLst>
          <pc:docMk/>
          <pc:sldMk cId="2641487227" sldId="272"/>
        </pc:sldMkLst>
        <pc:spChg chg="mod">
          <ac:chgData name="Meyer Raphael (PAR-ES)" userId="79615dfe-ed48-4e74-a40f-4f7b034c1c27" providerId="ADAL" clId="{21E3D908-F10F-4DDF-A48F-B72128982F51}" dt="2022-03-10T10:27:14.577" v="33"/>
          <ac:spMkLst>
            <pc:docMk/>
            <pc:sldMk cId="2641487227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21E3D908-F10F-4DDF-A48F-B72128982F51}" dt="2022-03-10T10:27:49.073" v="42" actId="20577"/>
          <ac:spMkLst>
            <pc:docMk/>
            <pc:sldMk cId="2641487227" sldId="272"/>
            <ac:spMk id="6" creationId="{0148E78D-7FBB-46BC-A7E3-0EFE6D9E4679}"/>
          </ac:spMkLst>
        </pc:spChg>
        <pc:graphicFrameChg chg="mod">
          <ac:chgData name="Meyer Raphael (PAR-ES)" userId="79615dfe-ed48-4e74-a40f-4f7b034c1c27" providerId="ADAL" clId="{21E3D908-F10F-4DDF-A48F-B72128982F51}" dt="2022-03-10T10:28:29.867" v="43"/>
          <ac:graphicFrameMkLst>
            <pc:docMk/>
            <pc:sldMk cId="2641487227" sldId="27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CFE219B-63D0-4998-939E-908DA31E96E5}"/>
    <pc:docChg chg="delSld">
      <pc:chgData name="Meyer Raphael (PAR-ES)" userId="79615dfe-ed48-4e74-a40f-4f7b034c1c27" providerId="ADAL" clId="{ACFE219B-63D0-4998-939E-908DA31E96E5}" dt="2021-11-08T11:25:13.590" v="2" actId="47"/>
      <pc:docMkLst>
        <pc:docMk/>
      </pc:docMkLst>
      <pc:sldChg chg="del">
        <pc:chgData name="Meyer Raphael (PAR-ES)" userId="79615dfe-ed48-4e74-a40f-4f7b034c1c27" providerId="ADAL" clId="{ACFE219B-63D0-4998-939E-908DA31E96E5}" dt="2021-11-08T11:25:07.918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CFE219B-63D0-4998-939E-908DA31E96E5}" dt="2021-11-08T11:25:11.458" v="1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ACFE219B-63D0-4998-939E-908DA31E96E5}" dt="2021-11-08T11:25:13.590" v="2" actId="47"/>
        <pc:sldMkLst>
          <pc:docMk/>
          <pc:sldMk cId="1065586608" sldId="273"/>
        </pc:sldMkLst>
      </pc:sldChg>
    </pc:docChg>
  </pc:docChgLst>
  <pc:docChgLst>
    <pc:chgData name="Meyer Raphael (PAR-EPS)" userId="79615dfe-ed48-4e74-a40f-4f7b034c1c27" providerId="ADAL" clId="{D0176D6A-B83A-4343-ABEA-CD42B3D5D5B2}"/>
    <pc:docChg chg="modSld">
      <pc:chgData name="Meyer Raphael (PAR-EPS)" userId="79615dfe-ed48-4e74-a40f-4f7b034c1c27" providerId="ADAL" clId="{D0176D6A-B83A-4343-ABEA-CD42B3D5D5B2}" dt="2024-10-30T07:42:55.160" v="4" actId="27918"/>
      <pc:docMkLst>
        <pc:docMk/>
      </pc:docMkLst>
      <pc:sldChg chg="mod">
        <pc:chgData name="Meyer Raphael (PAR-EPS)" userId="79615dfe-ed48-4e74-a40f-4f7b034c1c27" providerId="ADAL" clId="{D0176D6A-B83A-4343-ABEA-CD42B3D5D5B2}" dt="2024-10-30T07:42:55.160" v="4" actId="27918"/>
        <pc:sldMkLst>
          <pc:docMk/>
          <pc:sldMk cId="2641487227" sldId="27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6949456911378"/>
          <c:y val="8.7061916463810077E-2"/>
          <c:w val="0.77970737914140231"/>
          <c:h val="0.8199741906118294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717-4190-826F-80A673570E1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E094-45FA-955F-DD5583A88567}"/>
              </c:ext>
            </c:extLst>
          </c:dPt>
          <c:cat>
            <c:strRef>
              <c:f>data!$G$3:$G$18</c:f>
              <c:strCache>
                <c:ptCount val="16"/>
                <c:pt idx="0">
                  <c:v>Romania</c:v>
                </c:pt>
                <c:pt idx="1">
                  <c:v>Norway</c:v>
                </c:pt>
                <c:pt idx="2">
                  <c:v>Poland</c:v>
                </c:pt>
                <c:pt idx="3">
                  <c:v>Spain</c:v>
                </c:pt>
                <c:pt idx="4">
                  <c:v>Great Britain</c:v>
                </c:pt>
                <c:pt idx="5">
                  <c:v>Belgium</c:v>
                </c:pt>
                <c:pt idx="6">
                  <c:v>Czechia</c:v>
                </c:pt>
                <c:pt idx="7">
                  <c:v>Finland</c:v>
                </c:pt>
                <c:pt idx="8">
                  <c:v>Italy</c:v>
                </c:pt>
                <c:pt idx="9">
                  <c:v>Denmark</c:v>
                </c:pt>
                <c:pt idx="10">
                  <c:v>Netherlands</c:v>
                </c:pt>
                <c:pt idx="11">
                  <c:v>Germany</c:v>
                </c:pt>
                <c:pt idx="12">
                  <c:v>Sweden</c:v>
                </c:pt>
                <c:pt idx="13">
                  <c:v>France</c:v>
                </c:pt>
                <c:pt idx="14">
                  <c:v>Austria</c:v>
                </c:pt>
                <c:pt idx="15">
                  <c:v>Switzerland</c:v>
                </c:pt>
              </c:strCache>
            </c:strRef>
          </c:cat>
          <c:val>
            <c:numRef>
              <c:f>data!$I$3:$I$18</c:f>
              <c:numCache>
                <c:formatCode>0.0</c:formatCode>
                <c:ptCount val="16"/>
                <c:pt idx="0">
                  <c:v>322.64309898093398</c:v>
                </c:pt>
                <c:pt idx="1">
                  <c:v>632.94982183534501</c:v>
                </c:pt>
                <c:pt idx="2">
                  <c:v>704.26861986452002</c:v>
                </c:pt>
                <c:pt idx="3">
                  <c:v>712.43928621285602</c:v>
                </c:pt>
                <c:pt idx="4">
                  <c:v>880.24432848774404</c:v>
                </c:pt>
                <c:pt idx="5">
                  <c:v>882.43380330828597</c:v>
                </c:pt>
                <c:pt idx="6">
                  <c:v>917.01752800660199</c:v>
                </c:pt>
                <c:pt idx="7">
                  <c:v>927.75486000609203</c:v>
                </c:pt>
                <c:pt idx="8">
                  <c:v>928.82239590475297</c:v>
                </c:pt>
                <c:pt idx="9">
                  <c:v>1011.70073586928</c:v>
                </c:pt>
                <c:pt idx="10">
                  <c:v>1069.77997253739</c:v>
                </c:pt>
                <c:pt idx="11">
                  <c:v>1215.2675414943999</c:v>
                </c:pt>
                <c:pt idx="12">
                  <c:v>1261.2177347229201</c:v>
                </c:pt>
                <c:pt idx="13">
                  <c:v>1481.18482564186</c:v>
                </c:pt>
                <c:pt idx="14">
                  <c:v>1576.08844001638</c:v>
                </c:pt>
                <c:pt idx="15">
                  <c:v>2465.51647174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11-4BE3-9E26-ED344772E0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65451520"/>
        <c:axId val="65449984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19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40EB-4086-B314-698BDD6187D3}"/>
                    </c:ext>
                  </c:extLst>
                </c:dPt>
                <c:dPt>
                  <c:idx val="1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40EB-4086-B314-698BDD6187D3}"/>
                    </c:ext>
                  </c:extLst>
                </c:dPt>
                <c:dPt>
                  <c:idx val="1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40EB-4086-B314-698BDD6187D3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8</c15:sqref>
                        </c15:formulaRef>
                      </c:ext>
                    </c:extLst>
                    <c:strCache>
                      <c:ptCount val="16"/>
                      <c:pt idx="0">
                        <c:v>Romania</c:v>
                      </c:pt>
                      <c:pt idx="1">
                        <c:v>Norway</c:v>
                      </c:pt>
                      <c:pt idx="2">
                        <c:v>Poland</c:v>
                      </c:pt>
                      <c:pt idx="3">
                        <c:v>Spain</c:v>
                      </c:pt>
                      <c:pt idx="4">
                        <c:v>Great Britain</c:v>
                      </c:pt>
                      <c:pt idx="5">
                        <c:v>Belgium</c:v>
                      </c:pt>
                      <c:pt idx="6">
                        <c:v>Czechia</c:v>
                      </c:pt>
                      <c:pt idx="7">
                        <c:v>Finland</c:v>
                      </c:pt>
                      <c:pt idx="8">
                        <c:v>Italy</c:v>
                      </c:pt>
                      <c:pt idx="9">
                        <c:v>Denmark</c:v>
                      </c:pt>
                      <c:pt idx="10">
                        <c:v>Netherlands</c:v>
                      </c:pt>
                      <c:pt idx="11">
                        <c:v>Germany</c:v>
                      </c:pt>
                      <c:pt idx="12">
                        <c:v>Sweden</c:v>
                      </c:pt>
                      <c:pt idx="13">
                        <c:v>France</c:v>
                      </c:pt>
                      <c:pt idx="14">
                        <c:v>Austria</c:v>
                      </c:pt>
                      <c:pt idx="15">
                        <c:v>Switzerland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8</c15:sqref>
                        </c15:formulaRef>
                      </c:ext>
                    </c:extLst>
                    <c:numCache>
                      <c:formatCode>0.0</c:formatCode>
                      <c:ptCount val="16"/>
                      <c:pt idx="0">
                        <c:v>305.55380514855602</c:v>
                      </c:pt>
                      <c:pt idx="1">
                        <c:v>692.11823577850703</c:v>
                      </c:pt>
                      <c:pt idx="2">
                        <c:v>581.06116796350796</c:v>
                      </c:pt>
                      <c:pt idx="3">
                        <c:v>609.64050716375698</c:v>
                      </c:pt>
                      <c:pt idx="4">
                        <c:v>1069.8058530491301</c:v>
                      </c:pt>
                      <c:pt idx="5">
                        <c:v>941.55404584445705</c:v>
                      </c:pt>
                      <c:pt idx="6">
                        <c:v>1015.15447207993</c:v>
                      </c:pt>
                      <c:pt idx="7">
                        <c:v>891.17462027346198</c:v>
                      </c:pt>
                      <c:pt idx="8">
                        <c:v>948.769085036913</c:v>
                      </c:pt>
                      <c:pt idx="9">
                        <c:v>1060.3213628993699</c:v>
                      </c:pt>
                      <c:pt idx="10">
                        <c:v>1114.4567152766999</c:v>
                      </c:pt>
                      <c:pt idx="11">
                        <c:v>1205.43422716332</c:v>
                      </c:pt>
                      <c:pt idx="12">
                        <c:v>1415.3351764869799</c:v>
                      </c:pt>
                      <c:pt idx="13">
                        <c:v>1385.7853934715899</c:v>
                      </c:pt>
                      <c:pt idx="14">
                        <c:v>1488.8107758802801</c:v>
                      </c:pt>
                      <c:pt idx="15">
                        <c:v>2505.10310615819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40EB-4086-B314-698BDD6187D3}"/>
                  </c:ext>
                </c:extLst>
              </c15:ser>
            </c15:filteredBarSeries>
          </c:ext>
        </c:extLst>
      </c:barChart>
      <c:valAx>
        <c:axId val="65449984"/>
        <c:scaling>
          <c:orientation val="minMax"/>
          <c:max val="3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65451520"/>
        <c:crosses val="autoZero"/>
        <c:crossBetween val="between"/>
        <c:majorUnit val="500"/>
      </c:valAx>
      <c:catAx>
        <c:axId val="6545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6544998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9248</cdr:x>
      <cdr:y>0.03028</cdr:y>
    </cdr:from>
    <cdr:to>
      <cdr:x>1</cdr:x>
      <cdr:y>0.0886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606259" y="133582"/>
          <a:ext cx="72768" cy="2573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endParaRPr lang="de-CH" sz="1200" dirty="0">
            <a:solidFill>
              <a:srgbClr val="444444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1.11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95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Passenger transport demand in Europe.</a:t>
            </a:r>
            <a:endParaRPr lang="en-US" sz="14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26791049"/>
              </p:ext>
            </p:extLst>
          </p:nvPr>
        </p:nvGraphicFramePr>
        <p:xfrm>
          <a:off x="1027866" y="1487577"/>
          <a:ext cx="9676646" cy="441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Kilometres travelled by rail per inhabitant in 2023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: Eurostat, OECD, ORR, ON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289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4148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1D920B3-0FCA-4DF7-982C-41066E0759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assenger transport demand in Europ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ssenger transport demand in Europe.</dc:title>
  <dc:creator>Meyer Raphael (KOM-PGA-VSF)</dc:creator>
  <cp:lastModifiedBy>Stefan Weigel (PAR-EPS)</cp:lastModifiedBy>
  <cp:revision>21</cp:revision>
  <dcterms:created xsi:type="dcterms:W3CDTF">2020-09-30T11:00:09Z</dcterms:created>
  <dcterms:modified xsi:type="dcterms:W3CDTF">2024-11-01T10:4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